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439" r:id="rId2"/>
    <p:sldId id="418" r:id="rId3"/>
    <p:sldId id="420" r:id="rId4"/>
    <p:sldId id="436" r:id="rId5"/>
    <p:sldId id="437" r:id="rId6"/>
    <p:sldId id="428" r:id="rId7"/>
    <p:sldId id="443" r:id="rId8"/>
    <p:sldId id="430" r:id="rId9"/>
    <p:sldId id="444" r:id="rId10"/>
    <p:sldId id="441" r:id="rId11"/>
  </p:sldIdLst>
  <p:sldSz cx="12192000" cy="6858000"/>
  <p:notesSz cx="7010400" cy="9296400"/>
  <p:custDataLst>
    <p:tags r:id="rId14"/>
  </p:custDataLst>
  <p:defaultTextStyle>
    <a:defPPr>
      <a:defRPr lang="en-US"/>
    </a:defPPr>
    <a:lvl1pPr marL="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6F8BBE8-5958-4C0B-907A-C92FCA713FDE}">
          <p14:sldIdLst>
            <p14:sldId id="439"/>
            <p14:sldId id="418"/>
            <p14:sldId id="420"/>
            <p14:sldId id="436"/>
            <p14:sldId id="437"/>
            <p14:sldId id="428"/>
            <p14:sldId id="443"/>
            <p14:sldId id="430"/>
            <p14:sldId id="444"/>
            <p14:sldId id="44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los castro" initials="cc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1B5"/>
    <a:srgbClr val="FFF89B"/>
    <a:srgbClr val="CCE8AE"/>
    <a:srgbClr val="F9FF9F"/>
    <a:srgbClr val="F0F0F0"/>
    <a:srgbClr val="FC9739"/>
    <a:srgbClr val="8567A9"/>
    <a:srgbClr val="B8A7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927" autoAdjust="0"/>
    <p:restoredTop sz="76910" autoAdjust="0"/>
  </p:normalViewPr>
  <p:slideViewPr>
    <p:cSldViewPr snapToGrid="0">
      <p:cViewPr>
        <p:scale>
          <a:sx n="50" d="100"/>
          <a:sy n="50" d="100"/>
        </p:scale>
        <p:origin x="830" y="31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6" d="100"/>
          <a:sy n="46" d="100"/>
        </p:scale>
        <p:origin x="2728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BB3AF39-3865-405C-AD60-DE2C92E0F022}" type="datetimeFigureOut">
              <a:rPr lang="en-US" smtClean="0"/>
              <a:pPr/>
              <a:t>11/2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6532BA5-95EB-44E3-A2B2-5021049704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4758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825D01C-3DBF-4AFD-A8CF-9BF212C8018C}" type="datetimeFigureOut">
              <a:rPr lang="en-US" smtClean="0"/>
              <a:pPr/>
              <a:t>11/2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492B0DE-5900-4435-96F6-6103D0E9F8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642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2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851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704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629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556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407" algn="l" defTabSz="9138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rincetonreview.com/college-advice/act-sat-state-requirements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chicagotribune.com/news/ct-illinois-chooses-sat-met-20160211-story.html" TargetMode="External"/><Relationship Id="rId5" Type="http://schemas.openxmlformats.org/officeDocument/2006/relationships/hyperlink" Target="https://chalkbeat.org/posts/chicago/2018/07/27/act-protests-state-boards-embrace-of-rival-test-provider/" TargetMode="External"/><Relationship Id="rId4" Type="http://schemas.openxmlformats.org/officeDocument/2006/relationships/hyperlink" Target="https://www.chicagotribune.com/news/local/breaking/ct-parcc-test-high-school-met-20160711-story.html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1831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6899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hloropleth</a:t>
            </a:r>
            <a:r>
              <a:rPr lang="en-US" baseline="0" dirty="0" smtClean="0"/>
              <a:t> Map of the US participation rates of SAT (2017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033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mpare to A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4970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ring attention back to SA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1981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oropleth</a:t>
            </a:r>
            <a:r>
              <a:rPr lang="en-US" baseline="0" dirty="0" smtClean="0"/>
              <a:t> Map of the US participation rates of SAT (2017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8471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oropleth</a:t>
            </a:r>
            <a:r>
              <a:rPr lang="en-US" baseline="0" dirty="0" smtClean="0"/>
              <a:t> Map of the US participation rates of SAT vs. ACT (2018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978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20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1246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quires the SAT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pays for it!</a:t>
            </a:r>
          </a:p>
          <a:p>
            <a:pPr lvl="1"/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rce: </a:t>
            </a:r>
            <a:r>
              <a:rPr lang="en-US" sz="1200" b="0" i="1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www.princetonreview.com/college-advice/act-sat-state-requirement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ilar to Rhode Island, Illinois is abandoning the PARCC</a:t>
            </a:r>
          </a:p>
          <a:p>
            <a:pPr lvl="1"/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rce: </a:t>
            </a:r>
            <a:r>
              <a:rPr lang="en-US" sz="1200" b="0" i="1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www.chicagotribune.com/news/local/breaking/ct-parcc-test-high-school-met-20160711-story.html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egeBoard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SAT Administrator) won a 3-year contract (with option for additional 3-year extension) with Illinois state after the state's previous ACT contract expired. Interestingly, ACT's bid was 5.7 million USD lower than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egeboard's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but the cost when spread over 6 years was marginal for the state's budget</a:t>
            </a:r>
          </a:p>
          <a:p>
            <a:pPr lvl="1"/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rce: </a:t>
            </a:r>
            <a:r>
              <a:rPr lang="en-US" sz="1200" b="0" i="1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https://chalkbeat.org/posts/chicago/2018/07/27/act-protests-state-boards-embrace-of-rival-test-provider/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AT is part of Chicago Public Schools' Rating System: The SQRP. The scores make up 20% of the rating, giving schools an incentive to take the test</a:t>
            </a:r>
          </a:p>
          <a:p>
            <a:pPr lvl="1"/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rce: </a:t>
            </a:r>
            <a:r>
              <a:rPr lang="en-US" sz="1200" b="0" i="1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https://chalkbeat.org/posts/chicago/2018/07/27/act-protests-state-boards-embrace-of-rival-test-provider/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t of decision influenced by partnership with Khan Academy to provide free SAT prep resources, something the ACT does not have with them</a:t>
            </a:r>
          </a:p>
          <a:p>
            <a:pPr lvl="1"/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rce: </a:t>
            </a:r>
            <a:r>
              <a:rPr lang="en-US" sz="1200" b="0" i="1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https://www.chicagotribune.com/news/ct-illinois-chooses-sat-met-20160211-story.html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92B0DE-5900-4435-96F6-6103D0E9F8A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810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42739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069027"/>
            <a:ext cx="12192000" cy="7889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36825" y="1067617"/>
            <a:ext cx="7239000" cy="557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939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9017" y="347940"/>
            <a:ext cx="0" cy="90380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515600" cy="461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en-US" sz="2400" b="1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en-US" dirty="0" smtClean="0">
                <a:solidFill>
                  <a:schemeClr val="accent1"/>
                </a:solidFill>
              </a:defRPr>
            </a:lvl2pPr>
            <a:lvl3pPr>
              <a:defRPr lang="en-US" dirty="0" smtClean="0">
                <a:solidFill>
                  <a:schemeClr val="accent1"/>
                </a:solidFill>
              </a:defRPr>
            </a:lvl3pPr>
            <a:lvl4pPr>
              <a:defRPr lang="en-US" dirty="0" smtClean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</a:lstStyle>
          <a:p>
            <a:pPr marL="228578" lvl="0" indent="-228578">
              <a:spcBef>
                <a:spcPct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151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762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297180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0" y="2971800"/>
            <a:ext cx="75184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2534920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 userDrawn="1"/>
        </p:nvGrpSpPr>
        <p:grpSpPr>
          <a:xfrm rot="5400000" flipH="1">
            <a:off x="8940801" y="2992120"/>
            <a:ext cx="914400" cy="914400"/>
            <a:chOff x="2460624" y="3124200"/>
            <a:chExt cx="914400" cy="914400"/>
          </a:xfrm>
        </p:grpSpPr>
        <p:cxnSp>
          <p:nvCxnSpPr>
            <p:cNvPr id="15" name="Straight Connector 14"/>
            <p:cNvCxnSpPr/>
            <p:nvPr userDrawn="1"/>
          </p:nvCxnSpPr>
          <p:spPr>
            <a:xfrm>
              <a:off x="2489200" y="312420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rot="5400000">
              <a:off x="2917824" y="2687320"/>
              <a:ext cx="0" cy="9144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90442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336800" y="111147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36801" y="1103217"/>
            <a:ext cx="7518400" cy="914400"/>
          </a:xfrm>
          <a:prstGeom prst="rect">
            <a:avLst/>
          </a:prstGeom>
        </p:spPr>
        <p:txBody>
          <a:bodyPr anchor="ctr"/>
          <a:lstStyle>
            <a:lvl1pPr marL="231775" indent="0" algn="l">
              <a:buNone/>
              <a:defRPr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rot="5400000">
            <a:off x="2765424" y="674593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2336800" y="2454497"/>
            <a:ext cx="0" cy="3105475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493988" y="2454497"/>
            <a:ext cx="1709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COPE OF THE</a:t>
            </a:r>
            <a:r>
              <a:rPr lang="en-US" baseline="0" dirty="0"/>
              <a:t> MILESTON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336801" y="2483072"/>
            <a:ext cx="7518400" cy="3076899"/>
          </a:xfrm>
          <a:prstGeom prst="rect">
            <a:avLst/>
          </a:prstGeom>
        </p:spPr>
        <p:txBody>
          <a:bodyPr lIns="274320" anchor="t"/>
          <a:lstStyle>
            <a:lvl1pPr marL="457200" indent="-457200" algn="l">
              <a:buFontTx/>
              <a:buBlip>
                <a:blip r:embed="rId2"/>
              </a:buBlip>
              <a:defRPr sz="18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Section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2765424" y="5102771"/>
            <a:ext cx="0" cy="91440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5874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3429000"/>
            <a:ext cx="110617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79957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0022743" y="6215743"/>
            <a:ext cx="1846814" cy="571312"/>
          </a:xfrm>
          <a:prstGeom prst="rect">
            <a:avLst/>
          </a:pr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 dirty="0"/>
          </a:p>
        </p:txBody>
      </p:sp>
    </p:spTree>
    <p:extLst>
      <p:ext uri="{BB962C8B-B14F-4D97-AF65-F5344CB8AC3E}">
        <p14:creationId xmlns:p14="http://schemas.microsoft.com/office/powerpoint/2010/main" val="1612621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031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6100" y="359232"/>
            <a:ext cx="10515600" cy="3918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 b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yleTit</a:t>
            </a:r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980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37720407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2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3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634283" y="6412226"/>
            <a:ext cx="456119" cy="347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fld id="{92E5612C-1E66-4B8A-B895-164D646CBC0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87" name="Picture 963" descr="http://static-assets.generalassemb.ly/logos/generalassembly-open-graph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" y="6412226"/>
            <a:ext cx="940270" cy="493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8000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1" r:id="rId4"/>
    <p:sldLayoutId id="2147483655" r:id="rId5"/>
    <p:sldLayoutId id="2147483652" r:id="rId6"/>
    <p:sldLayoutId id="2147483654" r:id="rId7"/>
    <p:sldLayoutId id="214748365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0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0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5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bl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SAT participation rates so lo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93700" y="1664717"/>
            <a:ext cx="1012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9077" y="1218943"/>
            <a:ext cx="5193283" cy="519328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031740" y="1796028"/>
            <a:ext cx="845820" cy="584775"/>
          </a:xfrm>
          <a:prstGeom prst="rect">
            <a:avLst/>
          </a:prstGeom>
          <a:solidFill>
            <a:schemeClr val="accent6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u="sng" dirty="0" smtClean="0">
                <a:solidFill>
                  <a:srgbClr val="FF0000"/>
                </a:solidFill>
              </a:rPr>
              <a:t>Mean</a:t>
            </a:r>
            <a:r>
              <a:rPr lang="en-US" sz="1600" b="1" dirty="0" smtClean="0">
                <a:solidFill>
                  <a:srgbClr val="FF0000"/>
                </a:solidFill>
              </a:rPr>
              <a:t>: 39.8%</a:t>
            </a:r>
            <a:endParaRPr lang="en-US" sz="1600" b="1" dirty="0">
              <a:solidFill>
                <a:srgbClr val="FF0000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4758690" y="1995949"/>
            <a:ext cx="27432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023360" y="4363968"/>
            <a:ext cx="845820" cy="584775"/>
          </a:xfrm>
          <a:prstGeom prst="rect">
            <a:avLst/>
          </a:prstGeom>
          <a:solidFill>
            <a:schemeClr val="accent6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u="sng" dirty="0" smtClean="0">
                <a:solidFill>
                  <a:srgbClr val="FF0000"/>
                </a:solidFill>
              </a:rPr>
              <a:t>Mean</a:t>
            </a:r>
            <a:r>
              <a:rPr lang="en-US" sz="1600" b="1" dirty="0" smtClean="0">
                <a:solidFill>
                  <a:srgbClr val="FF0000"/>
                </a:solidFill>
              </a:rPr>
              <a:t>:</a:t>
            </a:r>
            <a:r>
              <a:rPr lang="en-US" sz="1600" b="1" u="sng" dirty="0" smtClean="0">
                <a:solidFill>
                  <a:srgbClr val="FF0000"/>
                </a:solidFill>
              </a:rPr>
              <a:t> </a:t>
            </a:r>
            <a:r>
              <a:rPr lang="en-US" sz="1600" b="1" dirty="0" smtClean="0">
                <a:solidFill>
                  <a:srgbClr val="FF0000"/>
                </a:solidFill>
              </a:rPr>
              <a:t>65.2%</a:t>
            </a:r>
            <a:endParaRPr lang="en-US" sz="1600" b="1" dirty="0">
              <a:solidFill>
                <a:srgbClr val="FF0000"/>
              </a:solidFill>
            </a:endParaRPr>
          </a:p>
        </p:txBody>
      </p:sp>
      <p:cxnSp>
        <p:nvCxnSpPr>
          <p:cNvPr id="19" name="Straight Arrow Connector 18"/>
          <p:cNvCxnSpPr>
            <a:stCxn id="12" idx="3"/>
          </p:cNvCxnSpPr>
          <p:nvPr/>
        </p:nvCxnSpPr>
        <p:spPr>
          <a:xfrm flipV="1">
            <a:off x="4869180" y="4548634"/>
            <a:ext cx="392430" cy="10772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683500" y="1806699"/>
            <a:ext cx="911860" cy="584775"/>
          </a:xfrm>
          <a:prstGeom prst="rect">
            <a:avLst/>
          </a:prstGeom>
          <a:solidFill>
            <a:schemeClr val="accent6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u="sng" dirty="0" smtClean="0">
                <a:solidFill>
                  <a:srgbClr val="FF0000"/>
                </a:solidFill>
              </a:rPr>
              <a:t>Mean: </a:t>
            </a:r>
          </a:p>
          <a:p>
            <a:r>
              <a:rPr lang="en-US" sz="1600" b="1" dirty="0" smtClean="0">
                <a:solidFill>
                  <a:srgbClr val="FF0000"/>
                </a:solidFill>
              </a:rPr>
              <a:t>45.2%</a:t>
            </a:r>
            <a:endParaRPr lang="en-US" sz="1600" b="1" dirty="0">
              <a:solidFill>
                <a:srgbClr val="FF0000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H="1">
            <a:off x="7410450" y="2006620"/>
            <a:ext cx="27432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6507480" y="4363968"/>
            <a:ext cx="845820" cy="584775"/>
          </a:xfrm>
          <a:prstGeom prst="rect">
            <a:avLst/>
          </a:prstGeom>
          <a:solidFill>
            <a:schemeClr val="accent6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u="sng" dirty="0" smtClean="0">
                <a:solidFill>
                  <a:srgbClr val="FF0000"/>
                </a:solidFill>
              </a:rPr>
              <a:t>Mean</a:t>
            </a:r>
            <a:r>
              <a:rPr lang="en-US" sz="1600" b="1" dirty="0" smtClean="0">
                <a:solidFill>
                  <a:srgbClr val="FF0000"/>
                </a:solidFill>
              </a:rPr>
              <a:t>: 61.7%</a:t>
            </a:r>
            <a:endParaRPr lang="en-US" sz="1600" b="1" dirty="0">
              <a:solidFill>
                <a:srgbClr val="FF0000"/>
              </a:solidFill>
            </a:endParaRPr>
          </a:p>
        </p:txBody>
      </p:sp>
      <p:cxnSp>
        <p:nvCxnSpPr>
          <p:cNvPr id="23" name="Straight Arrow Connector 22"/>
          <p:cNvCxnSpPr>
            <a:stCxn id="22" idx="3"/>
          </p:cNvCxnSpPr>
          <p:nvPr/>
        </p:nvCxnSpPr>
        <p:spPr>
          <a:xfrm flipV="1">
            <a:off x="7353300" y="4548635"/>
            <a:ext cx="392430" cy="10772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9472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rapping-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Takeaway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93700" y="1664717"/>
            <a:ext cx="1012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u="sng" dirty="0"/>
          </a:p>
        </p:txBody>
      </p:sp>
      <p:sp>
        <p:nvSpPr>
          <p:cNvPr id="6" name="TextBox 5"/>
          <p:cNvSpPr txBox="1"/>
          <p:nvPr/>
        </p:nvSpPr>
        <p:spPr>
          <a:xfrm>
            <a:off x="546100" y="1348740"/>
            <a:ext cx="1141330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rom just broad state-level participation data, there is only so much we can glean from the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rom the choropleth map, certain regions like the East Coast (particularly New England) are already in our pocket! But the story for rest of the states cases are rather idiosyncrati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ur deep dive into Illinois provided insight where we see the decision was a shift to a </a:t>
            </a:r>
            <a:r>
              <a:rPr lang="en-US" b="1" u="sng" dirty="0" smtClean="0"/>
              <a:t>less time-consuming test</a:t>
            </a:r>
            <a:r>
              <a:rPr lang="en-US" dirty="0" smtClean="0"/>
              <a:t>, and </a:t>
            </a:r>
            <a:r>
              <a:rPr lang="en-US" b="1" u="sng" dirty="0" smtClean="0"/>
              <a:t>the state subsidy provided an incentive</a:t>
            </a:r>
            <a:r>
              <a:rPr lang="en-US" b="1" dirty="0" smtClean="0"/>
              <a:t> </a:t>
            </a:r>
            <a:r>
              <a:rPr lang="en-US" dirty="0" smtClean="0"/>
              <a:t>but can we generalize this?</a:t>
            </a:r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46101" y="3547058"/>
            <a:ext cx="10777220" cy="461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0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400" b="1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73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2886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040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194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34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2" indent="-228578" algn="l" defTabSz="91430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urther Enquiry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46100" y="3980865"/>
            <a:ext cx="1141330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Regression Analysis with Y = participation rate</a:t>
            </a:r>
          </a:p>
          <a:p>
            <a:pPr marL="742677" lvl="1" indent="-285750">
              <a:buFont typeface="Wingdings" panose="05000000000000000000" pitchFamily="2" charset="2"/>
              <a:buChar char="Ø"/>
            </a:pPr>
            <a:r>
              <a:rPr lang="en-US" dirty="0" smtClean="0"/>
              <a:t>Is less preparation time a statistically significant factor that drives participation rate? </a:t>
            </a:r>
            <a:endParaRPr lang="en-US" dirty="0"/>
          </a:p>
          <a:p>
            <a:pPr marL="742677" lvl="1" indent="-285750">
              <a:buFont typeface="Wingdings" panose="05000000000000000000" pitchFamily="2" charset="2"/>
              <a:buChar char="Ø"/>
            </a:pPr>
            <a:r>
              <a:rPr lang="en-US" dirty="0" smtClean="0"/>
              <a:t>After including state subsidy as an indicator/dummy variable, what other factors are there?</a:t>
            </a:r>
          </a:p>
          <a:p>
            <a:pPr marL="742677" lvl="1" indent="-285750">
              <a:buFont typeface="Wingdings" panose="05000000000000000000" pitchFamily="2" charset="2"/>
              <a:buChar char="Ø"/>
            </a:pPr>
            <a:r>
              <a:rPr lang="en-US" dirty="0" smtClean="0"/>
              <a:t>Can we uncover latent idiosyncratic factors that drive participation rate, using Principal Component Analysis?</a:t>
            </a:r>
          </a:p>
          <a:p>
            <a:pPr marL="742677" lvl="1" indent="-28575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Contract Theory Optimization Model:</a:t>
            </a:r>
          </a:p>
          <a:p>
            <a:pPr marL="742677" lvl="1" indent="-285750">
              <a:buFont typeface="Wingdings" panose="05000000000000000000" pitchFamily="2" charset="2"/>
              <a:buChar char="Ø"/>
            </a:pPr>
            <a:r>
              <a:rPr lang="en-US" dirty="0" smtClean="0"/>
              <a:t>For a given State, what is the optimal bid higher than ACT’s that would make the sponsor see the cost differential as negligible?</a:t>
            </a:r>
          </a:p>
        </p:txBody>
      </p:sp>
    </p:spTree>
    <p:extLst>
      <p:ext uri="{BB962C8B-B14F-4D97-AF65-F5344CB8AC3E}">
        <p14:creationId xmlns:p14="http://schemas.microsoft.com/office/powerpoint/2010/main" val="358963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8480" y="5469057"/>
            <a:ext cx="1315722" cy="32976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242" y="195438"/>
            <a:ext cx="11948160" cy="602248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4200" y="5469057"/>
            <a:ext cx="1315722" cy="329763"/>
          </a:xfrm>
          <a:prstGeom prst="rect">
            <a:avLst/>
          </a:prstGeom>
        </p:spPr>
      </p:pic>
      <p:pic>
        <p:nvPicPr>
          <p:cNvPr id="6146" name="Picture 2" descr="Image result for SA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62" y="2494914"/>
            <a:ext cx="1505585" cy="1505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78462" y="4089946"/>
            <a:ext cx="15055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7</a:t>
            </a:r>
            <a:endParaRPr lang="en-US" sz="3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43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241" y="203058"/>
            <a:ext cx="11948161" cy="602248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165" y="203058"/>
            <a:ext cx="11906311" cy="602248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98480" y="5469057"/>
            <a:ext cx="1315722" cy="329763"/>
          </a:xfrm>
          <a:prstGeom prst="rect">
            <a:avLst/>
          </a:prstGeom>
        </p:spPr>
      </p:pic>
      <p:pic>
        <p:nvPicPr>
          <p:cNvPr id="7170" name="Picture 2" descr="Image result for ACT exam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836" y="2904160"/>
            <a:ext cx="1768402" cy="456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86082" y="3446262"/>
            <a:ext cx="15055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7</a:t>
            </a:r>
            <a:endParaRPr lang="en-US" sz="3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60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8480" y="5469057"/>
            <a:ext cx="1315722" cy="32976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242" y="195438"/>
            <a:ext cx="11948160" cy="602248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4200" y="5469057"/>
            <a:ext cx="1315722" cy="329763"/>
          </a:xfrm>
          <a:prstGeom prst="rect">
            <a:avLst/>
          </a:prstGeom>
        </p:spPr>
      </p:pic>
      <p:pic>
        <p:nvPicPr>
          <p:cNvPr id="11" name="Picture 2" descr="Image result for SA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62" y="2494914"/>
            <a:ext cx="1505585" cy="1505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78462" y="4089946"/>
            <a:ext cx="15055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7</a:t>
            </a:r>
            <a:endParaRPr lang="en-US" sz="3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472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8480" y="5469057"/>
            <a:ext cx="1315722" cy="32976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242" y="187818"/>
            <a:ext cx="11948160" cy="602248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4200" y="5469057"/>
            <a:ext cx="1315722" cy="32976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6233160" y="2590800"/>
            <a:ext cx="609600" cy="5867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2"/>
              </a:solidFill>
            </a:endParaRPr>
          </a:p>
        </p:txBody>
      </p:sp>
      <p:pic>
        <p:nvPicPr>
          <p:cNvPr id="11" name="Picture 2" descr="Image result for SA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62" y="2494914"/>
            <a:ext cx="1505585" cy="1505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78462" y="4089946"/>
            <a:ext cx="15055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7</a:t>
            </a:r>
            <a:endParaRPr lang="en-US" sz="3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985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241" y="203058"/>
            <a:ext cx="11948161" cy="602248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8480" y="5476677"/>
            <a:ext cx="1315722" cy="329763"/>
          </a:xfrm>
          <a:prstGeom prst="rect">
            <a:avLst/>
          </a:prstGeom>
        </p:spPr>
      </p:pic>
      <p:sp>
        <p:nvSpPr>
          <p:cNvPr id="17" name="Oval 16"/>
          <p:cNvSpPr/>
          <p:nvPr/>
        </p:nvSpPr>
        <p:spPr>
          <a:xfrm>
            <a:off x="6233160" y="2590800"/>
            <a:ext cx="609600" cy="5867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2"/>
              </a:solidFill>
            </a:endParaRPr>
          </a:p>
        </p:txBody>
      </p:sp>
      <p:pic>
        <p:nvPicPr>
          <p:cNvPr id="8" name="Picture 2" descr="Image result for SA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62" y="2494914"/>
            <a:ext cx="1505585" cy="1505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78462" y="4089946"/>
            <a:ext cx="15055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FF0000"/>
                </a:solidFill>
              </a:rPr>
              <a:t>2018</a:t>
            </a:r>
            <a:endParaRPr lang="en-US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65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SAT Participation Rate Changes 2017-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46101" y="1463040"/>
            <a:ext cx="2456180" cy="373380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en-US" u="sng" dirty="0" smtClean="0"/>
              <a:t>Summary Statistics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96749"/>
              </p:ext>
            </p:extLst>
          </p:nvPr>
        </p:nvGraphicFramePr>
        <p:xfrm>
          <a:off x="546100" y="1849379"/>
          <a:ext cx="4833620" cy="40438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7715"/>
                <a:gridCol w="2125905"/>
              </a:tblGrid>
              <a:tr h="799876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tatisti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AT Participation</a:t>
                      </a:r>
                      <a:r>
                        <a:rPr lang="en-US" baseline="0" dirty="0" smtClean="0"/>
                        <a:t> </a:t>
                      </a:r>
                    </a:p>
                    <a:p>
                      <a:pPr algn="ctr"/>
                      <a:r>
                        <a:rPr lang="en-US" baseline="0" dirty="0" smtClean="0"/>
                        <a:t>Rate Change</a:t>
                      </a:r>
                      <a:endParaRPr lang="en-US" dirty="0"/>
                    </a:p>
                  </a:txBody>
                  <a:tcPr/>
                </a:tc>
              </a:tr>
              <a:tr h="463421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Mean Chan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dirty="0" smtClean="0"/>
                        <a:t>5%</a:t>
                      </a:r>
                      <a:endParaRPr lang="en-US" dirty="0"/>
                    </a:p>
                  </a:txBody>
                  <a:tcPr/>
                </a:tc>
              </a:tr>
              <a:tr h="463421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Standard</a:t>
                      </a:r>
                      <a:r>
                        <a:rPr lang="en-US" baseline="0" dirty="0" smtClean="0"/>
                        <a:t> Devi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dirty="0" smtClean="0"/>
                        <a:t>13%</a:t>
                      </a:r>
                      <a:endParaRPr lang="en-US" dirty="0"/>
                    </a:p>
                  </a:txBody>
                  <a:tcPr/>
                </a:tc>
              </a:tr>
              <a:tr h="463421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Lowe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dirty="0" smtClean="0"/>
                        <a:t>-8%</a:t>
                      </a:r>
                      <a:endParaRPr lang="en-US" dirty="0"/>
                    </a:p>
                  </a:txBody>
                  <a:tcPr/>
                </a:tc>
              </a:tr>
              <a:tr h="463421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1</a:t>
                      </a:r>
                      <a:r>
                        <a:rPr lang="en-US" baseline="30000" dirty="0" smtClean="0"/>
                        <a:t>st</a:t>
                      </a:r>
                      <a:r>
                        <a:rPr lang="en-US" dirty="0" smtClean="0"/>
                        <a:t> Quarti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dirty="0" smtClean="0"/>
                        <a:t>0%</a:t>
                      </a:r>
                      <a:endParaRPr lang="en-US" dirty="0"/>
                    </a:p>
                  </a:txBody>
                  <a:tcPr/>
                </a:tc>
              </a:tr>
              <a:tr h="463421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Medi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dirty="0" smtClean="0"/>
                        <a:t>2%</a:t>
                      </a:r>
                      <a:endParaRPr lang="en-US" dirty="0"/>
                    </a:p>
                  </a:txBody>
                  <a:tcPr/>
                </a:tc>
              </a:tr>
              <a:tr h="463421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3</a:t>
                      </a:r>
                      <a:r>
                        <a:rPr lang="en-US" baseline="30000" dirty="0" smtClean="0"/>
                        <a:t>rd</a:t>
                      </a:r>
                      <a:r>
                        <a:rPr lang="en-US" dirty="0" smtClean="0"/>
                        <a:t> Quarti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dirty="0" smtClean="0"/>
                        <a:t>5%</a:t>
                      </a:r>
                      <a:endParaRPr lang="en-US" dirty="0"/>
                    </a:p>
                  </a:txBody>
                  <a:tcPr/>
                </a:tc>
              </a:tr>
              <a:tr h="463421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Highe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US" dirty="0" smtClean="0"/>
                        <a:t>90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1090720"/>
              </p:ext>
            </p:extLst>
          </p:nvPr>
        </p:nvGraphicFramePr>
        <p:xfrm>
          <a:off x="5532120" y="1868980"/>
          <a:ext cx="6492240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1180"/>
                <a:gridCol w="2377440"/>
                <a:gridCol w="229362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tate</a:t>
                      </a:r>
                      <a:endParaRPr lang="en-US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AT Participation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smtClean="0"/>
                        <a:t>Change</a:t>
                      </a:r>
                      <a:endParaRPr lang="en-US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CT Participation</a:t>
                      </a:r>
                      <a:r>
                        <a:rPr lang="en-US" baseline="0" dirty="0" smtClean="0"/>
                        <a:t> Changes</a:t>
                      </a:r>
                      <a:endParaRPr lang="en-US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Illinoi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+9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50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Rhode Island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+26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6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Colorado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+17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70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532120" y="3690749"/>
            <a:ext cx="245618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Top Decreases</a:t>
            </a:r>
            <a:endParaRPr lang="en-US" b="1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7989104"/>
              </p:ext>
            </p:extLst>
          </p:nvPr>
        </p:nvGraphicFramePr>
        <p:xfrm>
          <a:off x="5532120" y="4140603"/>
          <a:ext cx="6492240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1180"/>
                <a:gridCol w="2377440"/>
                <a:gridCol w="229362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tate</a:t>
                      </a:r>
                      <a:endParaRPr lang="en-US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AT Participation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smtClean="0"/>
                        <a:t>Change</a:t>
                      </a:r>
                      <a:endParaRPr lang="en-US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CT Participation</a:t>
                      </a:r>
                      <a:r>
                        <a:rPr lang="en-US" baseline="0" dirty="0" smtClean="0"/>
                        <a:t> Changes</a:t>
                      </a:r>
                      <a:endParaRPr lang="en-US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DC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1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Nevada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3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Arizona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8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+4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532120" y="1470660"/>
            <a:ext cx="2456180" cy="3693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en-US" u="sng" dirty="0" smtClean="0"/>
              <a:t>Top Increa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143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ep Dive: </a:t>
            </a:r>
            <a:r>
              <a:rPr lang="en-US" dirty="0" smtClean="0"/>
              <a:t>The State of </a:t>
            </a:r>
            <a:r>
              <a:rPr lang="en-US" dirty="0" smtClean="0"/>
              <a:t>Illinoi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Background: Changes in Requirem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93700" y="1664717"/>
            <a:ext cx="1012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u="sng" dirty="0"/>
          </a:p>
        </p:txBody>
      </p:sp>
      <p:sp>
        <p:nvSpPr>
          <p:cNvPr id="6" name="TextBox 5"/>
          <p:cNvSpPr txBox="1"/>
          <p:nvPr/>
        </p:nvSpPr>
        <p:spPr>
          <a:xfrm>
            <a:off x="3162972" y="1251760"/>
            <a:ext cx="816034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PSAE Exam</a:t>
            </a:r>
            <a:r>
              <a:rPr lang="en-US" dirty="0" smtClean="0"/>
              <a:t> </a:t>
            </a:r>
            <a:r>
              <a:rPr lang="en-US" b="1" dirty="0" smtClean="0"/>
              <a:t>(2010 – 2014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2-day </a:t>
            </a:r>
            <a:r>
              <a:rPr lang="en-US" dirty="0"/>
              <a:t>standardized test taken by all High School </a:t>
            </a:r>
            <a:r>
              <a:rPr lang="en-US" dirty="0" smtClean="0"/>
              <a:t>Juniors</a:t>
            </a:r>
          </a:p>
          <a:p>
            <a:pPr marL="742677" lvl="1" indent="-285750">
              <a:buFont typeface="Arial" panose="020B0604020202020204" pitchFamily="34" charset="0"/>
              <a:buChar char="•"/>
            </a:pPr>
            <a:r>
              <a:rPr lang="en-US" sz="1600" u="sng" dirty="0" smtClean="0"/>
              <a:t>Day 1</a:t>
            </a:r>
            <a:r>
              <a:rPr lang="en-US" sz="1600" dirty="0" smtClean="0"/>
              <a:t>: The ACT</a:t>
            </a:r>
          </a:p>
          <a:p>
            <a:pPr marL="742677" lvl="1" indent="-285750">
              <a:buFont typeface="Arial" panose="020B0604020202020204" pitchFamily="34" charset="0"/>
              <a:buChar char="•"/>
            </a:pPr>
            <a:r>
              <a:rPr lang="en-US" sz="1600" u="sng" dirty="0" smtClean="0"/>
              <a:t>Day 2</a:t>
            </a:r>
            <a:r>
              <a:rPr lang="en-US" sz="1600" dirty="0" smtClean="0"/>
              <a:t>: </a:t>
            </a:r>
            <a:r>
              <a:rPr lang="en-US" sz="1600" dirty="0" err="1" smtClean="0"/>
              <a:t>WorkKeys</a:t>
            </a:r>
            <a:r>
              <a:rPr lang="en-US" sz="1600" dirty="0" smtClean="0"/>
              <a:t> Science Examination</a:t>
            </a:r>
          </a:p>
          <a:p>
            <a:pPr lvl="1"/>
            <a:endParaRPr lang="en-US" u="sng" dirty="0" smtClean="0"/>
          </a:p>
          <a:p>
            <a:pPr lvl="1"/>
            <a:endParaRPr lang="en-US" u="sng" dirty="0"/>
          </a:p>
          <a:p>
            <a:pPr lvl="1"/>
            <a:endParaRPr lang="en-US" u="sng" dirty="0" smtClean="0"/>
          </a:p>
          <a:p>
            <a:pPr lvl="1"/>
            <a:endParaRPr lang="en-US" u="sng" dirty="0"/>
          </a:p>
          <a:p>
            <a:pPr lvl="1"/>
            <a:endParaRPr lang="en-US" u="sng" dirty="0" smtClean="0"/>
          </a:p>
          <a:p>
            <a:r>
              <a:rPr lang="en-US" u="sng" dirty="0" smtClean="0"/>
              <a:t>PARCC Exam</a:t>
            </a:r>
            <a:r>
              <a:rPr lang="en-US" dirty="0" smtClean="0"/>
              <a:t> (2015 – 2017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tensive exam offered to both Grade 3 – 8 students and high sch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CT became optional (but still on contract) in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ritics said </a:t>
            </a:r>
            <a:r>
              <a:rPr lang="en-US" dirty="0"/>
              <a:t>the test was too long and too </a:t>
            </a:r>
            <a:r>
              <a:rPr lang="en-US" dirty="0" smtClean="0"/>
              <a:t>hard (Chicago Tribune)</a:t>
            </a:r>
          </a:p>
          <a:p>
            <a:pPr marL="742677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Became controversial as high-stakes </a:t>
            </a:r>
            <a:r>
              <a:rPr lang="en-US" dirty="0"/>
              <a:t>graduation </a:t>
            </a:r>
            <a:r>
              <a:rPr lang="en-US" dirty="0" smtClean="0"/>
              <a:t>requir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bolished once SAT was favored in 2017</a:t>
            </a:r>
          </a:p>
          <a:p>
            <a:pPr marL="742677" lvl="1" indent="-285750">
              <a:buFont typeface="Arial" panose="020B0604020202020204" pitchFamily="34" charset="0"/>
              <a:buChar char="•"/>
            </a:pPr>
            <a:endParaRPr lang="en-US" u="sng" dirty="0"/>
          </a:p>
          <a:p>
            <a:pPr marL="742677" lvl="1" indent="-285750">
              <a:buFont typeface="Arial" panose="020B0604020202020204" pitchFamily="34" charset="0"/>
              <a:buChar char="•"/>
            </a:pPr>
            <a:endParaRPr lang="en-US" u="sng" dirty="0" smtClean="0"/>
          </a:p>
        </p:txBody>
      </p:sp>
      <p:pic>
        <p:nvPicPr>
          <p:cNvPr id="3074" name="Picture 2" descr="https://upload.wikimedia.org/wikipedia/en/2/27/Prairie_State_Achievement_Examination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12" y="1290441"/>
            <a:ext cx="2073340" cy="2040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Image result for parcc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8" y="3713078"/>
            <a:ext cx="3155894" cy="1529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156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ep Dive: </a:t>
            </a:r>
            <a:r>
              <a:rPr lang="en-US" dirty="0" smtClean="0"/>
              <a:t>The State of </a:t>
            </a:r>
            <a:r>
              <a:rPr lang="en-US" dirty="0" smtClean="0"/>
              <a:t>Illinoi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46100" y="789798"/>
            <a:ext cx="10777220" cy="461962"/>
          </a:xfrm>
        </p:spPr>
        <p:txBody>
          <a:bodyPr/>
          <a:lstStyle/>
          <a:p>
            <a:r>
              <a:rPr lang="en-US" dirty="0" smtClean="0"/>
              <a:t>Why did the participation rate change so much in just 1 year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2E5612C-1E66-4B8A-B895-164D646CBC0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93700" y="1664717"/>
            <a:ext cx="10121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u="sng" dirty="0"/>
          </a:p>
        </p:txBody>
      </p:sp>
      <p:sp>
        <p:nvSpPr>
          <p:cNvPr id="6" name="TextBox 5"/>
          <p:cNvSpPr txBox="1"/>
          <p:nvPr/>
        </p:nvSpPr>
        <p:spPr>
          <a:xfrm>
            <a:off x="546100" y="1348740"/>
            <a:ext cx="1141330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tate pays for it!</a:t>
            </a:r>
          </a:p>
          <a:p>
            <a:pPr marL="799827" lvl="1" indent="-342900">
              <a:buFont typeface="Arial" panose="020B0604020202020204" pitchFamily="34" charset="0"/>
              <a:buChar char="•"/>
            </a:pPr>
            <a:r>
              <a:rPr lang="en-US" dirty="0"/>
              <a:t>State subsidy provides an economic incentive to consumers due to reduced cost</a:t>
            </a:r>
          </a:p>
          <a:p>
            <a:pPr marL="799827" lvl="1" indent="-342900">
              <a:buFont typeface="Arial" panose="020B0604020202020204" pitchFamily="34" charset="0"/>
              <a:buChar char="•"/>
            </a:pPr>
            <a:r>
              <a:rPr lang="en-US" dirty="0"/>
              <a:t>…but kind of out of our control!</a:t>
            </a:r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CT contract with State of Illinois expired:</a:t>
            </a:r>
          </a:p>
          <a:p>
            <a:pPr marL="799827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CT board lost the bid to us despite bidding $5.7mm less</a:t>
            </a:r>
          </a:p>
          <a:p>
            <a:pPr marL="799827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State saw cost differential as negligible once spread over 6 year contract life</a:t>
            </a:r>
          </a:p>
          <a:p>
            <a:pPr marL="799827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…so we don’t necessarily need to bid less than </a:t>
            </a:r>
            <a:r>
              <a:rPr lang="en-US" smtClean="0"/>
              <a:t>our competitors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State needed a less time-consuming test to prepare for to replace the PARCC</a:t>
            </a:r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501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m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euko Labs">
      <a:dk1>
        <a:srgbClr val="210D43"/>
      </a:dk1>
      <a:lt1>
        <a:srgbClr val="F0F1F7"/>
      </a:lt1>
      <a:dk2>
        <a:srgbClr val="210D43"/>
      </a:dk2>
      <a:lt2>
        <a:srgbClr val="FFFFFF"/>
      </a:lt2>
      <a:accent1>
        <a:srgbClr val="3C2A70"/>
      </a:accent1>
      <a:accent2>
        <a:srgbClr val="8F68AD"/>
      </a:accent2>
      <a:accent3>
        <a:srgbClr val="96BDE4"/>
      </a:accent3>
      <a:accent4>
        <a:srgbClr val="F0F1F7"/>
      </a:accent4>
      <a:accent5>
        <a:srgbClr val="E58D11"/>
      </a:accent5>
      <a:accent6>
        <a:srgbClr val="FFFFFF"/>
      </a:accent6>
      <a:hlink>
        <a:srgbClr val="8F68AD"/>
      </a:hlink>
      <a:folHlink>
        <a:srgbClr val="2F3C6E"/>
      </a:folHlink>
    </a:clrScheme>
    <a:fontScheme name="Leuko Lab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528</TotalTime>
  <Words>570</Words>
  <Application>Microsoft Office PowerPoint</Application>
  <PresentationFormat>Widescreen</PresentationFormat>
  <Paragraphs>14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Helvetica</vt:lpstr>
      <vt:lpstr>Open Sans</vt:lpstr>
      <vt:lpstr>Wingdings</vt:lpstr>
      <vt:lpstr>Office Theme</vt:lpstr>
      <vt:lpstr>think-cell Slide</vt:lpstr>
      <vt:lpstr>The Probl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view</vt:lpstr>
      <vt:lpstr>Deep Dive: The State of Illinois</vt:lpstr>
      <vt:lpstr>Deep Dive: The State of Illinois</vt:lpstr>
      <vt:lpstr>Wrapping-Up</vt:lpstr>
    </vt:vector>
  </TitlesOfParts>
  <Company>Hewlett-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iwid (Boom) Devahastin Na Ayudhya;Benjamin Ming Kai Chua;Dikshant Lalchand Tahilramani;Rohit Giri;Ramon Gamble</dc:creator>
  <cp:lastModifiedBy>Adiwid Devahastin Na Ayudhya</cp:lastModifiedBy>
  <cp:revision>1061</cp:revision>
  <cp:lastPrinted>2016-07-28T11:59:02Z</cp:lastPrinted>
  <dcterms:created xsi:type="dcterms:W3CDTF">2016-06-20T01:45:41Z</dcterms:created>
  <dcterms:modified xsi:type="dcterms:W3CDTF">2018-11-20T15:43:44Z</dcterms:modified>
</cp:coreProperties>
</file>